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11"/>
  </p:notesMasterIdLst>
  <p:sldIdLst>
    <p:sldId id="267" r:id="rId3"/>
    <p:sldId id="268" r:id="rId4"/>
    <p:sldId id="269" r:id="rId5"/>
    <p:sldId id="270" r:id="rId6"/>
    <p:sldId id="271" r:id="rId7"/>
    <p:sldId id="273" r:id="rId8"/>
    <p:sldId id="274" r:id="rId9"/>
    <p:sldId id="275" r:id="rId1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72" autoAdjust="0"/>
    <p:restoredTop sz="94639" autoAdjust="0"/>
  </p:normalViewPr>
  <p:slideViewPr>
    <p:cSldViewPr>
      <p:cViewPr>
        <p:scale>
          <a:sx n="114" d="100"/>
          <a:sy n="114" d="100"/>
        </p:scale>
        <p:origin x="-1710" y="1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99826A-3FCD-4C97-9E7F-673D53AC6244}" type="datetimeFigureOut">
              <a:rPr lang="en-AU" smtClean="0"/>
              <a:t>18/01/2018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C9433A-D98D-4DFD-8964-574CA2DBBF9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440441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gif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gif"/><Relationship Id="rId2" Type="http://schemas.openxmlformats.org/officeDocument/2006/relationships/tags" Target="../tags/tag4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1"/>
          <p:cNvSpPr>
            <a:spLocks noChangeArrowheads="1"/>
          </p:cNvSpPr>
          <p:nvPr userDrawn="1"/>
        </p:nvSpPr>
        <p:spPr bwMode="auto">
          <a:xfrm>
            <a:off x="0" y="0"/>
            <a:ext cx="9146932" cy="6858000"/>
          </a:xfrm>
          <a:prstGeom prst="rect">
            <a:avLst/>
          </a:prstGeom>
          <a:solidFill>
            <a:srgbClr val="D9D9D9"/>
          </a:solidFill>
          <a:ln>
            <a:noFill/>
          </a:ln>
          <a:ex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30000"/>
              </a:spcAft>
              <a:buClr>
                <a:srgbClr val="113388"/>
              </a:buClr>
              <a:buFont typeface="Wingdings" pitchFamily="2" charset="2"/>
              <a:buNone/>
            </a:pPr>
            <a:endParaRPr lang="de-DE" altLang="de-DE" sz="1600" dirty="0">
              <a:solidFill>
                <a:srgbClr val="000000"/>
              </a:solidFill>
            </a:endParaRPr>
          </a:p>
        </p:txBody>
      </p:sp>
      <p:pic>
        <p:nvPicPr>
          <p:cNvPr id="186441" name="Picture 73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60"/>
          <a:stretch/>
        </p:blipFill>
        <p:spPr bwMode="auto">
          <a:xfrm>
            <a:off x="-12302" y="0"/>
            <a:ext cx="9156315" cy="616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256222"/>
              </p:ext>
            </p:extLst>
          </p:nvPr>
        </p:nvGraphicFramePr>
        <p:xfrm>
          <a:off x="1499" y="1605"/>
          <a:ext cx="14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9" y="1605"/>
                        <a:ext cx="146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11"/>
          <p:cNvSpPr>
            <a:spLocks/>
          </p:cNvSpPr>
          <p:nvPr userDrawn="1"/>
        </p:nvSpPr>
        <p:spPr bwMode="auto">
          <a:xfrm>
            <a:off x="643510" y="682625"/>
            <a:ext cx="3686623" cy="3657600"/>
          </a:xfrm>
          <a:custGeom>
            <a:avLst/>
            <a:gdLst>
              <a:gd name="T0" fmla="*/ 0 w 2322"/>
              <a:gd name="T1" fmla="*/ 2147483647 h 2304"/>
              <a:gd name="T2" fmla="*/ 2147483647 w 2322"/>
              <a:gd name="T3" fmla="*/ 2147483647 h 2304"/>
              <a:gd name="T4" fmla="*/ 2147483647 w 2322"/>
              <a:gd name="T5" fmla="*/ 2147483647 h 2304"/>
              <a:gd name="T6" fmla="*/ 2147483647 w 2322"/>
              <a:gd name="T7" fmla="*/ 0 h 2304"/>
              <a:gd name="T8" fmla="*/ 0 w 2322"/>
              <a:gd name="T9" fmla="*/ 0 h 2304"/>
              <a:gd name="T10" fmla="*/ 0 w 2322"/>
              <a:gd name="T11" fmla="*/ 2147483647 h 230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322"/>
              <a:gd name="T19" fmla="*/ 0 h 2304"/>
              <a:gd name="T20" fmla="*/ 2322 w 2322"/>
              <a:gd name="T21" fmla="*/ 2304 h 230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322" h="2304">
                <a:moveTo>
                  <a:pt x="0" y="2304"/>
                </a:moveTo>
                <a:lnTo>
                  <a:pt x="2010" y="2304"/>
                </a:lnTo>
                <a:lnTo>
                  <a:pt x="2322" y="1992"/>
                </a:lnTo>
                <a:lnTo>
                  <a:pt x="2322" y="0"/>
                </a:lnTo>
                <a:lnTo>
                  <a:pt x="0" y="0"/>
                </a:lnTo>
                <a:lnTo>
                  <a:pt x="0" y="230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dirty="0">
              <a:solidFill>
                <a:srgbClr val="000000"/>
              </a:solidFill>
            </a:endParaRPr>
          </a:p>
        </p:txBody>
      </p:sp>
      <p:grpSp>
        <p:nvGrpSpPr>
          <p:cNvPr id="3" name="McK Title Elements" hidden="1"/>
          <p:cNvGrpSpPr>
            <a:grpSpLocks/>
          </p:cNvGrpSpPr>
          <p:nvPr/>
        </p:nvGrpSpPr>
        <p:grpSpPr bwMode="auto">
          <a:xfrm>
            <a:off x="744687" y="3676650"/>
            <a:ext cx="2965424" cy="515938"/>
            <a:chOff x="1663" y="3099"/>
            <a:chExt cx="3109" cy="319"/>
          </a:xfrm>
        </p:grpSpPr>
        <p:sp>
          <p:nvSpPr>
            <p:cNvPr id="15" name="McK Document type"/>
            <p:cNvSpPr txBox="1">
              <a:spLocks noChangeArrowheads="1"/>
            </p:cNvSpPr>
            <p:nvPr/>
          </p:nvSpPr>
          <p:spPr bwMode="auto">
            <a:xfrm>
              <a:off x="1663" y="3099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00" dirty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6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00" dirty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744103" y="824364"/>
            <a:ext cx="3488147" cy="1384995"/>
          </a:xfrm>
          <a:prstGeom prst="rect">
            <a:avLst/>
          </a:prstGeom>
        </p:spPr>
        <p:txBody>
          <a:bodyPr/>
          <a:lstStyle>
            <a:lvl1pPr>
              <a:defRPr sz="30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744103" y="2358312"/>
            <a:ext cx="3488147" cy="492443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pic>
        <p:nvPicPr>
          <p:cNvPr id="14" name="Picture 13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7936" y="5317955"/>
            <a:ext cx="1859585" cy="128442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948149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0364" y="1352550"/>
            <a:ext cx="8315325" cy="406400"/>
          </a:xfrm>
        </p:spPr>
        <p:txBody>
          <a:bodyPr>
            <a:noAutofit/>
          </a:bodyPr>
          <a:lstStyle>
            <a:lvl1pPr>
              <a:defRPr sz="2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10"/>
          <p:cNvSpPr>
            <a:spLocks noGrp="1"/>
          </p:cNvSpPr>
          <p:nvPr>
            <p:ph sz="quarter" idx="11"/>
          </p:nvPr>
        </p:nvSpPr>
        <p:spPr>
          <a:xfrm>
            <a:off x="360363" y="1979407"/>
            <a:ext cx="8280400" cy="1295226"/>
          </a:xfrm>
        </p:spPr>
        <p:txBody>
          <a:bodyPr/>
          <a:lstStyle>
            <a:lvl1pPr>
              <a:spcAft>
                <a:spcPts val="523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69749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4460595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1"/>
          <p:cNvSpPr>
            <a:spLocks noChangeArrowheads="1"/>
          </p:cNvSpPr>
          <p:nvPr userDrawn="1"/>
        </p:nvSpPr>
        <p:spPr bwMode="auto">
          <a:xfrm>
            <a:off x="0" y="0"/>
            <a:ext cx="9146932" cy="6858000"/>
          </a:xfrm>
          <a:prstGeom prst="rect">
            <a:avLst/>
          </a:prstGeom>
          <a:solidFill>
            <a:srgbClr val="D9D9D9"/>
          </a:solidFill>
          <a:ln>
            <a:noFill/>
          </a:ln>
          <a:ex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30000"/>
              </a:spcAft>
              <a:buClr>
                <a:srgbClr val="113388"/>
              </a:buClr>
              <a:buFont typeface="Wingdings" pitchFamily="2" charset="2"/>
              <a:buNone/>
            </a:pPr>
            <a:endParaRPr lang="de-DE" altLang="de-DE" sz="1600" dirty="0">
              <a:solidFill>
                <a:srgbClr val="000000"/>
              </a:solidFill>
            </a:endParaRPr>
          </a:p>
        </p:txBody>
      </p:sp>
      <p:pic>
        <p:nvPicPr>
          <p:cNvPr id="186441" name="Picture 73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60"/>
          <a:stretch/>
        </p:blipFill>
        <p:spPr bwMode="auto">
          <a:xfrm>
            <a:off x="-12302" y="0"/>
            <a:ext cx="9156315" cy="616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34176"/>
              </p:ext>
            </p:extLst>
          </p:nvPr>
        </p:nvGraphicFramePr>
        <p:xfrm>
          <a:off x="1499" y="1605"/>
          <a:ext cx="14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9" y="1605"/>
                        <a:ext cx="146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11"/>
          <p:cNvSpPr>
            <a:spLocks/>
          </p:cNvSpPr>
          <p:nvPr userDrawn="1"/>
        </p:nvSpPr>
        <p:spPr bwMode="auto">
          <a:xfrm>
            <a:off x="643510" y="682625"/>
            <a:ext cx="3686623" cy="3657600"/>
          </a:xfrm>
          <a:custGeom>
            <a:avLst/>
            <a:gdLst>
              <a:gd name="T0" fmla="*/ 0 w 2322"/>
              <a:gd name="T1" fmla="*/ 2147483647 h 2304"/>
              <a:gd name="T2" fmla="*/ 2147483647 w 2322"/>
              <a:gd name="T3" fmla="*/ 2147483647 h 2304"/>
              <a:gd name="T4" fmla="*/ 2147483647 w 2322"/>
              <a:gd name="T5" fmla="*/ 2147483647 h 2304"/>
              <a:gd name="T6" fmla="*/ 2147483647 w 2322"/>
              <a:gd name="T7" fmla="*/ 0 h 2304"/>
              <a:gd name="T8" fmla="*/ 0 w 2322"/>
              <a:gd name="T9" fmla="*/ 0 h 2304"/>
              <a:gd name="T10" fmla="*/ 0 w 2322"/>
              <a:gd name="T11" fmla="*/ 2147483647 h 230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322"/>
              <a:gd name="T19" fmla="*/ 0 h 2304"/>
              <a:gd name="T20" fmla="*/ 2322 w 2322"/>
              <a:gd name="T21" fmla="*/ 2304 h 230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322" h="2304">
                <a:moveTo>
                  <a:pt x="0" y="2304"/>
                </a:moveTo>
                <a:lnTo>
                  <a:pt x="2010" y="2304"/>
                </a:lnTo>
                <a:lnTo>
                  <a:pt x="2322" y="1992"/>
                </a:lnTo>
                <a:lnTo>
                  <a:pt x="2322" y="0"/>
                </a:lnTo>
                <a:lnTo>
                  <a:pt x="0" y="0"/>
                </a:lnTo>
                <a:lnTo>
                  <a:pt x="0" y="230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dirty="0">
              <a:solidFill>
                <a:srgbClr val="000000"/>
              </a:solidFill>
            </a:endParaRPr>
          </a:p>
        </p:txBody>
      </p:sp>
      <p:grpSp>
        <p:nvGrpSpPr>
          <p:cNvPr id="3" name="McK Title Elements" hidden="1"/>
          <p:cNvGrpSpPr>
            <a:grpSpLocks/>
          </p:cNvGrpSpPr>
          <p:nvPr/>
        </p:nvGrpSpPr>
        <p:grpSpPr bwMode="auto">
          <a:xfrm>
            <a:off x="744687" y="3676650"/>
            <a:ext cx="2965424" cy="515938"/>
            <a:chOff x="1663" y="3099"/>
            <a:chExt cx="3109" cy="319"/>
          </a:xfrm>
        </p:grpSpPr>
        <p:sp>
          <p:nvSpPr>
            <p:cNvPr id="15" name="McK Document type"/>
            <p:cNvSpPr txBox="1">
              <a:spLocks noChangeArrowheads="1"/>
            </p:cNvSpPr>
            <p:nvPr/>
          </p:nvSpPr>
          <p:spPr bwMode="auto">
            <a:xfrm>
              <a:off x="1663" y="3099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00" dirty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6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00" dirty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744103" y="824364"/>
            <a:ext cx="3488147" cy="1384995"/>
          </a:xfrm>
          <a:prstGeom prst="rect">
            <a:avLst/>
          </a:prstGeom>
        </p:spPr>
        <p:txBody>
          <a:bodyPr/>
          <a:lstStyle>
            <a:lvl1pPr>
              <a:defRPr sz="30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744103" y="2358312"/>
            <a:ext cx="3488147" cy="492443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pic>
        <p:nvPicPr>
          <p:cNvPr id="14" name="Picture 13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7936" y="5317955"/>
            <a:ext cx="1859585" cy="128442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015085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68225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86266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44165" y="303928"/>
            <a:ext cx="6978931" cy="3385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87237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5" y="2699099"/>
            <a:ext cx="4389768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981325C-E4B3-441B-8ED2-97520B967208}" type="datetimeFigureOut">
              <a:rPr lang="en-AU" sz="12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8/01/2018</a:t>
            </a:fld>
            <a:endParaRPr lang="en-AU" sz="1200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AU" sz="1200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9CFDCAC-DB3E-4370-B132-8513B4EF70A1}" type="slidenum">
              <a:rPr lang="en-AU" sz="12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AU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4463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724080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5" y="2699100"/>
            <a:ext cx="4389768" cy="123110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81526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1181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15166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33877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sia Pacific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204015"/>
              </p:ext>
            </p:extLst>
          </p:nvPr>
        </p:nvGraphicFramePr>
        <p:xfrm>
          <a:off x="1588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41" name="Rectangle 21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5780" tIns="47890" rIns="95780" bIns="47890" anchor="ctr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165102" y="123826"/>
            <a:ext cx="8799512" cy="596265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  <a:extLst/>
        </p:spPr>
        <p:txBody>
          <a:bodyPr vert="horz" wrap="none" lIns="95780" tIns="47890" rIns="95780" bIns="47890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rgbClr val="000000"/>
              </a:solidFill>
            </a:endParaRPr>
          </a:p>
        </p:txBody>
      </p:sp>
      <p:pic>
        <p:nvPicPr>
          <p:cNvPr id="8" name="Picture 7" descr="AWP-Log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6925" y="5461012"/>
            <a:ext cx="1513484" cy="1225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1254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477776" y="1511651"/>
            <a:ext cx="8281788" cy="4640388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>
          <a:xfrm>
            <a:off x="8238182" y="6424931"/>
            <a:ext cx="542924" cy="365125"/>
          </a:xfrm>
          <a:prstGeom prst="rect">
            <a:avLst/>
          </a:prstGeom>
        </p:spPr>
        <p:txBody>
          <a:bodyPr lIns="80440" tIns="40220" rIns="80440" bIns="4022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E4CD1D5-A1E4-4F05-BD09-2FF01D6D932F}" type="slidenum">
              <a:rPr lang="en-US" sz="12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9303075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0364" y="1352550"/>
            <a:ext cx="8315325" cy="406400"/>
          </a:xfrm>
        </p:spPr>
        <p:txBody>
          <a:bodyPr>
            <a:noAutofit/>
          </a:bodyPr>
          <a:lstStyle>
            <a:lvl1pPr>
              <a:defRPr sz="2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10"/>
          <p:cNvSpPr>
            <a:spLocks noGrp="1"/>
          </p:cNvSpPr>
          <p:nvPr>
            <p:ph sz="quarter" idx="11"/>
          </p:nvPr>
        </p:nvSpPr>
        <p:spPr>
          <a:xfrm>
            <a:off x="360363" y="1979407"/>
            <a:ext cx="8280400" cy="1295226"/>
          </a:xfrm>
        </p:spPr>
        <p:txBody>
          <a:bodyPr/>
          <a:lstStyle>
            <a:lvl1pPr>
              <a:spcAft>
                <a:spcPts val="523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503062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2925745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45762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44165" y="303928"/>
            <a:ext cx="6978931" cy="3385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4809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5" y="2699099"/>
            <a:ext cx="4389768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981325C-E4B3-441B-8ED2-97520B967208}" type="datetimeFigureOut">
              <a:rPr lang="en-AU" sz="12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8/01/2018</a:t>
            </a:fld>
            <a:endParaRPr lang="en-AU" sz="1200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AU" sz="1200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9CFDCAC-DB3E-4370-B132-8513B4EF70A1}" type="slidenum">
              <a:rPr lang="en-AU" sz="12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AU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257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5713634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5" y="2699100"/>
            <a:ext cx="4389768" cy="123110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3259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sia Pacific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1905748"/>
              </p:ext>
            </p:extLst>
          </p:nvPr>
        </p:nvGraphicFramePr>
        <p:xfrm>
          <a:off x="1588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41" name="Rectangle 21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5780" tIns="47890" rIns="95780" bIns="47890" anchor="ctr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165102" y="123826"/>
            <a:ext cx="8799512" cy="596265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  <a:extLst/>
        </p:spPr>
        <p:txBody>
          <a:bodyPr vert="horz" wrap="none" lIns="95780" tIns="47890" rIns="95780" bIns="47890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rgbClr val="000000"/>
              </a:solidFill>
            </a:endParaRPr>
          </a:p>
        </p:txBody>
      </p:sp>
      <p:pic>
        <p:nvPicPr>
          <p:cNvPr id="8" name="Picture 7" descr="AWP-Log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6925" y="5461012"/>
            <a:ext cx="1513484" cy="1225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6707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477776" y="1511651"/>
            <a:ext cx="8281788" cy="4640388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>
          <a:xfrm>
            <a:off x="8238182" y="6424931"/>
            <a:ext cx="542924" cy="365125"/>
          </a:xfrm>
          <a:prstGeom prst="rect">
            <a:avLst/>
          </a:prstGeom>
        </p:spPr>
        <p:txBody>
          <a:bodyPr lIns="80440" tIns="40220" rIns="80440" bIns="4022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E4CD1D5-A1E4-4F05-BD09-2FF01D6D932F}" type="slidenum">
              <a:rPr lang="en-US" sz="12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197879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32" Type="http://schemas.openxmlformats.org/officeDocument/2006/relationships/tags" Target="../tags/tag19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31" Type="http://schemas.openxmlformats.org/officeDocument/2006/relationships/tags" Target="../tags/tag1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35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28.xml"/><Relationship Id="rId34" Type="http://schemas.openxmlformats.org/officeDocument/2006/relationships/oleObject" Target="../embeddings/oleObject4.bin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26.xml"/><Relationship Id="rId31" Type="http://schemas.openxmlformats.org/officeDocument/2006/relationships/tags" Target="../tags/tag38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4.v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66784907"/>
              </p:ext>
            </p:extLst>
          </p:nvPr>
        </p:nvGraphicFramePr>
        <p:xfrm>
          <a:off x="0" y="0"/>
          <a:ext cx="1619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Picture 73" descr="AWP-logo.png"/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9320" y="182266"/>
            <a:ext cx="1081425" cy="708604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5" y="26991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44165" y="303928"/>
            <a:ext cx="697893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44158" y="817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44158" y="651266"/>
            <a:ext cx="5237912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4" name="McK Slide Elements" hidden="1"/>
          <p:cNvGrpSpPr/>
          <p:nvPr/>
        </p:nvGrpSpPr>
        <p:grpSpPr bwMode="auto">
          <a:xfrm>
            <a:off x="444160" y="6350797"/>
            <a:ext cx="8399345" cy="371367"/>
            <a:chOff x="121490" y="6350574"/>
            <a:chExt cx="8399344" cy="3713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21490" y="6350574"/>
              <a:ext cx="839934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21491" y="6568053"/>
              <a:ext cx="808931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900" indent="-46990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</a:pPr>
              <a:endParaRPr lang="en-US" sz="10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213852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29" name="LegendBoxes" hidden="1"/>
          <p:cNvGrpSpPr>
            <a:grpSpLocks/>
          </p:cNvGrpSpPr>
          <p:nvPr/>
        </p:nvGrpSpPr>
        <p:grpSpPr bwMode="auto">
          <a:xfrm>
            <a:off x="8124244" y="705007"/>
            <a:ext cx="763588" cy="996951"/>
            <a:chOff x="4936" y="176"/>
            <a:chExt cx="481" cy="628"/>
          </a:xfrm>
        </p:grpSpPr>
        <p:sp>
          <p:nvSpPr>
            <p:cNvPr id="3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8" name="LegendLines" hidden="1"/>
          <p:cNvGrpSpPr>
            <a:grpSpLocks/>
          </p:cNvGrpSpPr>
          <p:nvPr/>
        </p:nvGrpSpPr>
        <p:grpSpPr bwMode="auto">
          <a:xfrm>
            <a:off x="7816363" y="705009"/>
            <a:ext cx="1071563" cy="730251"/>
            <a:chOff x="4750" y="176"/>
            <a:chExt cx="675" cy="460"/>
          </a:xfrm>
        </p:grpSpPr>
        <p:sp>
          <p:nvSpPr>
            <p:cNvPr id="3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4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4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45" name="McKSticker" hidden="1"/>
          <p:cNvGrpSpPr/>
          <p:nvPr/>
        </p:nvGrpSpPr>
        <p:grpSpPr bwMode="auto">
          <a:xfrm>
            <a:off x="7781228" y="704912"/>
            <a:ext cx="1066895" cy="212366"/>
            <a:chOff x="7673880" y="285750"/>
            <a:chExt cx="1066895" cy="212366"/>
          </a:xfrm>
        </p:grpSpPr>
        <p:sp>
          <p:nvSpPr>
            <p:cNvPr id="46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808080"/>
                  </a:solidFill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47" name="AutoShape 31"/>
            <p:cNvCxnSpPr>
              <a:cxnSpLocks noChangeShapeType="1"/>
              <a:stCxn id="46" idx="2"/>
              <a:endCxn id="4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32"/>
            <p:cNvCxnSpPr>
              <a:cxnSpLocks noChangeShapeType="1"/>
              <a:stCxn id="46" idx="4"/>
              <a:endCxn id="4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" name="LegendMoons" hidden="1"/>
          <p:cNvGrpSpPr/>
          <p:nvPr/>
        </p:nvGrpSpPr>
        <p:grpSpPr bwMode="auto">
          <a:xfrm>
            <a:off x="8056808" y="705010"/>
            <a:ext cx="830430" cy="1307277"/>
            <a:chOff x="8732474" y="2484790"/>
            <a:chExt cx="899343" cy="1307277"/>
          </a:xfrm>
        </p:grpSpPr>
        <p:grpSp>
          <p:nvGrpSpPr>
            <p:cNvPr id="50" name="MoonLegend1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8732474" y="2484790"/>
              <a:ext cx="210312" cy="210312"/>
              <a:chOff x="4533" y="183"/>
              <a:chExt cx="144" cy="144"/>
            </a:xfrm>
          </p:grpSpPr>
          <p:sp>
            <p:nvSpPr>
              <p:cNvPr id="68" name="Oval 38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9" name="Arc 39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1" name="MoonLegend2"/>
            <p:cNvGrpSpPr>
              <a:grpSpLocks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8732474" y="2759031"/>
              <a:ext cx="210312" cy="210312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2" name="MoonLegend4"/>
            <p:cNvGrpSpPr>
              <a:grpSpLocks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8732474" y="3307513"/>
              <a:ext cx="210312" cy="210312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3" name="MoonLegend5"/>
            <p:cNvGrpSpPr>
              <a:grpSpLocks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8732474" y="3581755"/>
              <a:ext cx="210312" cy="210312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54" name="Legend1"/>
            <p:cNvSpPr>
              <a:spLocks noChangeArrowheads="1"/>
            </p:cNvSpPr>
            <p:nvPr/>
          </p:nvSpPr>
          <p:spPr bwMode="auto">
            <a:xfrm>
              <a:off x="9079760" y="2497613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5" name="Legend2"/>
            <p:cNvSpPr>
              <a:spLocks noChangeArrowheads="1"/>
            </p:cNvSpPr>
            <p:nvPr/>
          </p:nvSpPr>
          <p:spPr bwMode="auto">
            <a:xfrm>
              <a:off x="9079760" y="2771854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6" name="Legend3"/>
            <p:cNvSpPr>
              <a:spLocks noChangeArrowheads="1"/>
            </p:cNvSpPr>
            <p:nvPr/>
          </p:nvSpPr>
          <p:spPr bwMode="auto">
            <a:xfrm>
              <a:off x="9079760" y="3046095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7" name="Legend4"/>
            <p:cNvSpPr>
              <a:spLocks noChangeArrowheads="1"/>
            </p:cNvSpPr>
            <p:nvPr/>
          </p:nvSpPr>
          <p:spPr bwMode="auto">
            <a:xfrm>
              <a:off x="9079760" y="3320336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8" name="Legend5"/>
            <p:cNvSpPr>
              <a:spLocks noChangeArrowheads="1"/>
            </p:cNvSpPr>
            <p:nvPr/>
          </p:nvSpPr>
          <p:spPr bwMode="auto">
            <a:xfrm>
              <a:off x="9079760" y="3594578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grpSp>
          <p:nvGrpSpPr>
            <p:cNvPr id="59" name="MoonLegend3"/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8732474" y="3033272"/>
              <a:ext cx="210312" cy="210312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70" name="McK Moon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8063333" y="2263593"/>
            <a:ext cx="236413" cy="256032"/>
            <a:chOff x="1600" y="1600"/>
            <a:chExt cx="161" cy="161"/>
          </a:xfrm>
        </p:grpSpPr>
        <p:sp>
          <p:nvSpPr>
            <p:cNvPr id="71" name="Oval 90"/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600" y="1600"/>
              <a:ext cx="161" cy="161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Arc 91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75" name="Slide Number Placeholder 5"/>
          <p:cNvSpPr txBox="1">
            <a:spLocks/>
          </p:cNvSpPr>
          <p:nvPr userDrawn="1"/>
        </p:nvSpPr>
        <p:spPr>
          <a:xfrm>
            <a:off x="8634052" y="6596644"/>
            <a:ext cx="479809" cy="272242"/>
          </a:xfrm>
          <a:prstGeom prst="rect">
            <a:avLst/>
          </a:prstGeom>
        </p:spPr>
        <p:txBody>
          <a:bodyPr vert="horz" lIns="36000" tIns="36000" rIns="72000" bIns="72000" rtlCol="0" anchor="b" anchorCtr="0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80F5DEA-BAF1-4358-B29D-EA8096A8D02C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262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433165530"/>
              </p:ext>
            </p:extLst>
          </p:nvPr>
        </p:nvGraphicFramePr>
        <p:xfrm>
          <a:off x="0" y="0"/>
          <a:ext cx="1619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Picture 73" descr="AWP-logo.png"/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9320" y="182266"/>
            <a:ext cx="1081425" cy="708604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5" y="26991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44165" y="303928"/>
            <a:ext cx="697893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44158" y="817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44158" y="651266"/>
            <a:ext cx="5237912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4" name="McK Slide Elements" hidden="1"/>
          <p:cNvGrpSpPr/>
          <p:nvPr/>
        </p:nvGrpSpPr>
        <p:grpSpPr bwMode="auto">
          <a:xfrm>
            <a:off x="444160" y="6350797"/>
            <a:ext cx="8399345" cy="371367"/>
            <a:chOff x="121490" y="6350574"/>
            <a:chExt cx="8399344" cy="3713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21490" y="6350574"/>
              <a:ext cx="839934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21491" y="6568053"/>
              <a:ext cx="808931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900" indent="-46990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</a:pPr>
              <a:endParaRPr lang="en-US" sz="10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213852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29" name="LegendBoxes" hidden="1"/>
          <p:cNvGrpSpPr>
            <a:grpSpLocks/>
          </p:cNvGrpSpPr>
          <p:nvPr/>
        </p:nvGrpSpPr>
        <p:grpSpPr bwMode="auto">
          <a:xfrm>
            <a:off x="8124244" y="705007"/>
            <a:ext cx="763588" cy="996951"/>
            <a:chOff x="4936" y="176"/>
            <a:chExt cx="481" cy="628"/>
          </a:xfrm>
        </p:grpSpPr>
        <p:sp>
          <p:nvSpPr>
            <p:cNvPr id="3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8" name="LegendLines" hidden="1"/>
          <p:cNvGrpSpPr>
            <a:grpSpLocks/>
          </p:cNvGrpSpPr>
          <p:nvPr/>
        </p:nvGrpSpPr>
        <p:grpSpPr bwMode="auto">
          <a:xfrm>
            <a:off x="7816363" y="705009"/>
            <a:ext cx="1071563" cy="730251"/>
            <a:chOff x="4750" y="176"/>
            <a:chExt cx="675" cy="460"/>
          </a:xfrm>
        </p:grpSpPr>
        <p:sp>
          <p:nvSpPr>
            <p:cNvPr id="3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4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4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45" name="McKSticker" hidden="1"/>
          <p:cNvGrpSpPr/>
          <p:nvPr/>
        </p:nvGrpSpPr>
        <p:grpSpPr bwMode="auto">
          <a:xfrm>
            <a:off x="7781228" y="704912"/>
            <a:ext cx="1066895" cy="212366"/>
            <a:chOff x="7673880" y="285750"/>
            <a:chExt cx="1066895" cy="212366"/>
          </a:xfrm>
        </p:grpSpPr>
        <p:sp>
          <p:nvSpPr>
            <p:cNvPr id="46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808080"/>
                  </a:solidFill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47" name="AutoShape 31"/>
            <p:cNvCxnSpPr>
              <a:cxnSpLocks noChangeShapeType="1"/>
              <a:stCxn id="46" idx="2"/>
              <a:endCxn id="4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32"/>
            <p:cNvCxnSpPr>
              <a:cxnSpLocks noChangeShapeType="1"/>
              <a:stCxn id="46" idx="4"/>
              <a:endCxn id="4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" name="LegendMoons" hidden="1"/>
          <p:cNvGrpSpPr/>
          <p:nvPr/>
        </p:nvGrpSpPr>
        <p:grpSpPr bwMode="auto">
          <a:xfrm>
            <a:off x="8056808" y="705010"/>
            <a:ext cx="830430" cy="1307277"/>
            <a:chOff x="8732474" y="2484790"/>
            <a:chExt cx="899343" cy="1307277"/>
          </a:xfrm>
        </p:grpSpPr>
        <p:grpSp>
          <p:nvGrpSpPr>
            <p:cNvPr id="50" name="MoonLegend1"/>
            <p:cNvGrpSpPr>
              <a:grpSpLocks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8732474" y="2484790"/>
              <a:ext cx="210312" cy="210312"/>
              <a:chOff x="4533" y="183"/>
              <a:chExt cx="144" cy="144"/>
            </a:xfrm>
          </p:grpSpPr>
          <p:sp>
            <p:nvSpPr>
              <p:cNvPr id="68" name="Oval 38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9" name="Arc 39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1" name="MoonLegend2"/>
            <p:cNvGrpSpPr>
              <a:grpSpLocks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8732474" y="2759031"/>
              <a:ext cx="210312" cy="210312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2" name="MoonLegend4"/>
            <p:cNvGrpSpPr>
              <a:grpSpLocks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8732474" y="3307513"/>
              <a:ext cx="210312" cy="210312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3" name="MoonLegend5"/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8732474" y="3581755"/>
              <a:ext cx="210312" cy="210312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54" name="Legend1"/>
            <p:cNvSpPr>
              <a:spLocks noChangeArrowheads="1"/>
            </p:cNvSpPr>
            <p:nvPr/>
          </p:nvSpPr>
          <p:spPr bwMode="auto">
            <a:xfrm>
              <a:off x="9079760" y="2497613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5" name="Legend2"/>
            <p:cNvSpPr>
              <a:spLocks noChangeArrowheads="1"/>
            </p:cNvSpPr>
            <p:nvPr/>
          </p:nvSpPr>
          <p:spPr bwMode="auto">
            <a:xfrm>
              <a:off x="9079760" y="2771854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6" name="Legend3"/>
            <p:cNvSpPr>
              <a:spLocks noChangeArrowheads="1"/>
            </p:cNvSpPr>
            <p:nvPr/>
          </p:nvSpPr>
          <p:spPr bwMode="auto">
            <a:xfrm>
              <a:off x="9079760" y="3046095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7" name="Legend4"/>
            <p:cNvSpPr>
              <a:spLocks noChangeArrowheads="1"/>
            </p:cNvSpPr>
            <p:nvPr/>
          </p:nvSpPr>
          <p:spPr bwMode="auto">
            <a:xfrm>
              <a:off x="9079760" y="3320336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8" name="Legend5"/>
            <p:cNvSpPr>
              <a:spLocks noChangeArrowheads="1"/>
            </p:cNvSpPr>
            <p:nvPr/>
          </p:nvSpPr>
          <p:spPr bwMode="auto">
            <a:xfrm>
              <a:off x="9079760" y="3594578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grpSp>
          <p:nvGrpSpPr>
            <p:cNvPr id="59" name="MoonLegend3"/>
            <p:cNvGrpSpPr>
              <a:grpSpLocks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8732474" y="3033272"/>
              <a:ext cx="210312" cy="210312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70" name="McK Moon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8063333" y="2263593"/>
            <a:ext cx="236413" cy="256032"/>
            <a:chOff x="1600" y="1600"/>
            <a:chExt cx="161" cy="161"/>
          </a:xfrm>
        </p:grpSpPr>
        <p:sp>
          <p:nvSpPr>
            <p:cNvPr id="71" name="Oval 90"/>
            <p:cNvSpPr>
              <a:spLocks noChangeAspect="1"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600" y="1600"/>
              <a:ext cx="161" cy="161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Arc 91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75" name="Slide Number Placeholder 5"/>
          <p:cNvSpPr txBox="1">
            <a:spLocks/>
          </p:cNvSpPr>
          <p:nvPr userDrawn="1"/>
        </p:nvSpPr>
        <p:spPr>
          <a:xfrm>
            <a:off x="8634052" y="6596644"/>
            <a:ext cx="479809" cy="272242"/>
          </a:xfrm>
          <a:prstGeom prst="rect">
            <a:avLst/>
          </a:prstGeom>
        </p:spPr>
        <p:txBody>
          <a:bodyPr vert="horz" lIns="36000" tIns="36000" rIns="72000" bIns="72000" rtlCol="0" anchor="b" anchorCtr="0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80F5DEA-BAF1-4358-B29D-EA8096A8D02C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311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9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9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9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1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9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9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9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1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gration Metadata</a:t>
            </a:r>
            <a:endParaRPr lang="en-US" dirty="0"/>
          </a:p>
        </p:txBody>
      </p:sp>
      <p:pic>
        <p:nvPicPr>
          <p:cNvPr id="40" name="Picture 39" descr="src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394919" y="5018395"/>
            <a:ext cx="2998972" cy="726174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1" name="Picture 40" descr="tgt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530892" y="1476681"/>
            <a:ext cx="2566069" cy="682452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1309490" y="2417074"/>
            <a:ext cx="3051859" cy="707552"/>
          </a:xfrm>
          <a:prstGeom prst="rect">
            <a:avLst/>
          </a:prstGeom>
          <a:solidFill>
            <a:srgbClr val="487BB8"/>
          </a:solidFill>
          <a:ln w="12700">
            <a:solidFill>
              <a:srgbClr val="4BACC6"/>
            </a:solidFill>
            <a:round/>
            <a:headEnd/>
            <a:tailEnd/>
          </a:ln>
          <a:effectLst>
            <a:outerShdw dist="28398" dir="3806097" algn="ctr" rotWithShape="0">
              <a:srgbClr val="205867"/>
            </a:outerShdw>
          </a:effectLst>
        </p:spPr>
        <p:txBody>
          <a:bodyPr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  <a:cs typeface="Times New Roman" pitchFamily="18" charset="0"/>
              </a:rPr>
              <a:t>Presentation Layer</a:t>
            </a:r>
            <a:endParaRPr lang="en-US" sz="1600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43" name="AutoShape 6"/>
          <p:cNvSpPr>
            <a:spLocks noChangeArrowheads="1"/>
          </p:cNvSpPr>
          <p:nvPr/>
        </p:nvSpPr>
        <p:spPr bwMode="auto">
          <a:xfrm>
            <a:off x="1309490" y="3209255"/>
            <a:ext cx="3051859" cy="706165"/>
          </a:xfrm>
          <a:prstGeom prst="rect">
            <a:avLst/>
          </a:prstGeom>
          <a:solidFill>
            <a:srgbClr val="487BB8"/>
          </a:solidFill>
          <a:ln w="12700">
            <a:solidFill>
              <a:srgbClr val="4BACC6"/>
            </a:solidFill>
            <a:round/>
            <a:headEnd/>
            <a:tailEnd/>
          </a:ln>
          <a:effectLst>
            <a:outerShdw dist="28398" dir="3806097" algn="ctr" rotWithShape="0">
              <a:srgbClr val="205867"/>
            </a:outerShdw>
          </a:effectLst>
        </p:spPr>
        <p:txBody>
          <a:bodyPr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  <a:cs typeface="Times New Roman" pitchFamily="18" charset="0"/>
              </a:rPr>
              <a:t>Integration Layer / Data Vault</a:t>
            </a:r>
          </a:p>
        </p:txBody>
      </p:sp>
      <p:sp>
        <p:nvSpPr>
          <p:cNvPr id="44" name="AutoShape 29"/>
          <p:cNvSpPr>
            <a:spLocks noChangeArrowheads="1"/>
          </p:cNvSpPr>
          <p:nvPr/>
        </p:nvSpPr>
        <p:spPr bwMode="auto">
          <a:xfrm>
            <a:off x="1309490" y="4005064"/>
            <a:ext cx="3051859" cy="707552"/>
          </a:xfrm>
          <a:prstGeom prst="rect">
            <a:avLst/>
          </a:prstGeom>
          <a:solidFill>
            <a:srgbClr val="487BB8"/>
          </a:solidFill>
          <a:ln w="12700">
            <a:solidFill>
              <a:srgbClr val="4BACC6"/>
            </a:solidFill>
            <a:round/>
            <a:headEnd/>
            <a:tailEnd/>
          </a:ln>
          <a:effectLst>
            <a:outerShdw dist="28398" dir="3806097" algn="ctr" rotWithShape="0">
              <a:srgbClr val="205867"/>
            </a:outerShdw>
          </a:effectLst>
        </p:spPr>
        <p:txBody>
          <a:bodyPr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  <a:cs typeface="Times New Roman" pitchFamily="18" charset="0"/>
              </a:rPr>
              <a:t>Staging Layer</a:t>
            </a:r>
          </a:p>
        </p:txBody>
      </p:sp>
      <p:sp>
        <p:nvSpPr>
          <p:cNvPr id="45" name="AutoShape 7"/>
          <p:cNvSpPr>
            <a:spLocks noChangeArrowheads="1"/>
          </p:cNvSpPr>
          <p:nvPr/>
        </p:nvSpPr>
        <p:spPr bwMode="auto">
          <a:xfrm>
            <a:off x="4460776" y="2417697"/>
            <a:ext cx="530408" cy="2288565"/>
          </a:xfrm>
          <a:prstGeom prst="roundRect">
            <a:avLst>
              <a:gd name="adj" fmla="val 16667"/>
            </a:avLst>
          </a:prstGeom>
          <a:solidFill>
            <a:schemeClr val="accent4">
              <a:lumMod val="50000"/>
            </a:schemeClr>
          </a:solidFill>
          <a:ln w="41275">
            <a:solidFill>
              <a:srgbClr val="FF0000"/>
            </a:solidFill>
            <a:round/>
            <a:headEnd/>
            <a:tailEnd/>
          </a:ln>
          <a:effectLst/>
        </p:spPr>
        <p:txBody>
          <a:bodyPr vert="vert270" anchor="ctr"/>
          <a:lstStyle/>
          <a:p>
            <a:pPr algn="ctr">
              <a:defRPr/>
            </a:pPr>
            <a:r>
              <a:rPr lang="en-US" sz="1400" dirty="0">
                <a:solidFill>
                  <a:srgbClr val="FFFFFF"/>
                </a:solidFill>
                <a:ea typeface="Times New Roman" pitchFamily="18" charset="0"/>
                <a:cs typeface="Times New Roman" pitchFamily="18" charset="0"/>
              </a:rPr>
              <a:t>Integration </a:t>
            </a:r>
            <a:r>
              <a:rPr lang="en-US" sz="1400" dirty="0" smtClean="0">
                <a:solidFill>
                  <a:srgbClr val="FFFFFF"/>
                </a:solidFill>
                <a:ea typeface="Times New Roman" pitchFamily="18" charset="0"/>
                <a:cs typeface="Times New Roman" pitchFamily="18" charset="0"/>
              </a:rPr>
              <a:t>Metadata</a:t>
            </a:r>
            <a:endParaRPr lang="en-US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46" name="AutoShape 8"/>
          <p:cNvSpPr>
            <a:spLocks noChangeArrowheads="1"/>
          </p:cNvSpPr>
          <p:nvPr/>
        </p:nvSpPr>
        <p:spPr bwMode="auto">
          <a:xfrm>
            <a:off x="662563" y="2417697"/>
            <a:ext cx="538678" cy="2288565"/>
          </a:xfrm>
          <a:prstGeom prst="roundRect">
            <a:avLst>
              <a:gd name="adj" fmla="val 16667"/>
            </a:avLst>
          </a:prstGeom>
          <a:solidFill>
            <a:schemeClr val="accent4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/>
        </p:spPr>
        <p:txBody>
          <a:bodyPr vert="vert270" anchor="ctr"/>
          <a:lstStyle/>
          <a:p>
            <a:pPr algn="ctr">
              <a:defRPr/>
            </a:pPr>
            <a:r>
              <a:rPr lang="en-US" sz="1400" dirty="0">
                <a:solidFill>
                  <a:srgbClr val="FFFFFF"/>
                </a:solidFill>
                <a:ea typeface="Times New Roman" pitchFamily="18" charset="0"/>
                <a:cs typeface="Times New Roman" pitchFamily="18" charset="0"/>
              </a:rPr>
              <a:t>Exception Handling</a:t>
            </a:r>
            <a:endParaRPr lang="en-US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50" name="AutoShape 12"/>
          <p:cNvSpPr>
            <a:spLocks noChangeArrowheads="1"/>
          </p:cNvSpPr>
          <p:nvPr/>
        </p:nvSpPr>
        <p:spPr bwMode="auto">
          <a:xfrm>
            <a:off x="2513012" y="2991471"/>
            <a:ext cx="701349" cy="317119"/>
          </a:xfrm>
          <a:prstGeom prst="upArrow">
            <a:avLst>
              <a:gd name="adj1" fmla="val 42046"/>
              <a:gd name="adj2" fmla="val 51069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2" name="AutoShape 14"/>
          <p:cNvSpPr>
            <a:spLocks noChangeArrowheads="1"/>
          </p:cNvSpPr>
          <p:nvPr/>
        </p:nvSpPr>
        <p:spPr bwMode="auto">
          <a:xfrm rot="5400000">
            <a:off x="4383015" y="4140693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3" name="AutoShape 15"/>
          <p:cNvSpPr>
            <a:spLocks noChangeArrowheads="1"/>
          </p:cNvSpPr>
          <p:nvPr/>
        </p:nvSpPr>
        <p:spPr bwMode="auto">
          <a:xfrm rot="16200000">
            <a:off x="4332477" y="4271799"/>
            <a:ext cx="131799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4" name="AutoShape 16"/>
          <p:cNvSpPr>
            <a:spLocks noChangeArrowheads="1"/>
          </p:cNvSpPr>
          <p:nvPr/>
        </p:nvSpPr>
        <p:spPr bwMode="auto">
          <a:xfrm rot="5400000">
            <a:off x="4382319" y="3393602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5" name="AutoShape 17"/>
          <p:cNvSpPr>
            <a:spLocks noChangeArrowheads="1"/>
          </p:cNvSpPr>
          <p:nvPr/>
        </p:nvSpPr>
        <p:spPr bwMode="auto">
          <a:xfrm rot="16200000">
            <a:off x="4333170" y="3523320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6" name="AutoShape 18"/>
          <p:cNvSpPr>
            <a:spLocks noChangeArrowheads="1"/>
          </p:cNvSpPr>
          <p:nvPr/>
        </p:nvSpPr>
        <p:spPr bwMode="auto">
          <a:xfrm rot="5400000">
            <a:off x="4382319" y="2575061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7" name="AutoShape 19"/>
          <p:cNvSpPr>
            <a:spLocks noChangeArrowheads="1"/>
          </p:cNvSpPr>
          <p:nvPr/>
        </p:nvSpPr>
        <p:spPr bwMode="auto">
          <a:xfrm rot="16200000">
            <a:off x="4333170" y="2706167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8" name="AutoShape 20"/>
          <p:cNvSpPr>
            <a:spLocks noChangeArrowheads="1"/>
          </p:cNvSpPr>
          <p:nvPr/>
        </p:nvSpPr>
        <p:spPr bwMode="auto">
          <a:xfrm rot="5400000">
            <a:off x="1218651" y="4161504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9" name="AutoShape 21"/>
          <p:cNvSpPr>
            <a:spLocks noChangeArrowheads="1"/>
          </p:cNvSpPr>
          <p:nvPr/>
        </p:nvSpPr>
        <p:spPr bwMode="auto">
          <a:xfrm rot="16200000">
            <a:off x="1168113" y="4292609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0" name="AutoShape 22"/>
          <p:cNvSpPr>
            <a:spLocks noChangeArrowheads="1"/>
          </p:cNvSpPr>
          <p:nvPr/>
        </p:nvSpPr>
        <p:spPr bwMode="auto">
          <a:xfrm rot="5400000">
            <a:off x="1217955" y="3393602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1" name="AutoShape 23"/>
          <p:cNvSpPr>
            <a:spLocks noChangeArrowheads="1"/>
          </p:cNvSpPr>
          <p:nvPr/>
        </p:nvSpPr>
        <p:spPr bwMode="auto">
          <a:xfrm rot="16200000">
            <a:off x="1168807" y="3523320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2" name="AutoShape 24"/>
          <p:cNvSpPr>
            <a:spLocks noChangeArrowheads="1"/>
          </p:cNvSpPr>
          <p:nvPr/>
        </p:nvSpPr>
        <p:spPr bwMode="auto">
          <a:xfrm rot="5400000">
            <a:off x="1217955" y="2575061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3" name="AutoShape 25"/>
          <p:cNvSpPr>
            <a:spLocks noChangeArrowheads="1"/>
          </p:cNvSpPr>
          <p:nvPr/>
        </p:nvSpPr>
        <p:spPr bwMode="auto">
          <a:xfrm rot="16200000">
            <a:off x="1168807" y="2706167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72" name="AutoShape 12"/>
          <p:cNvSpPr>
            <a:spLocks noChangeArrowheads="1"/>
          </p:cNvSpPr>
          <p:nvPr/>
        </p:nvSpPr>
        <p:spPr bwMode="auto">
          <a:xfrm>
            <a:off x="2528180" y="3840132"/>
            <a:ext cx="701349" cy="317119"/>
          </a:xfrm>
          <a:prstGeom prst="upArrow">
            <a:avLst>
              <a:gd name="adj1" fmla="val 42046"/>
              <a:gd name="adj2" fmla="val 51069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73" name="AutoShape 12"/>
          <p:cNvSpPr>
            <a:spLocks noChangeArrowheads="1"/>
          </p:cNvSpPr>
          <p:nvPr/>
        </p:nvSpPr>
        <p:spPr bwMode="auto">
          <a:xfrm>
            <a:off x="2513012" y="4653139"/>
            <a:ext cx="701349" cy="317119"/>
          </a:xfrm>
          <a:prstGeom prst="upArrow">
            <a:avLst>
              <a:gd name="adj1" fmla="val 42046"/>
              <a:gd name="adj2" fmla="val 51069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32487" y="1087980"/>
            <a:ext cx="2558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5080BC">
                    <a:lumMod val="50000"/>
                  </a:srgbClr>
                </a:solidFill>
              </a:rPr>
              <a:t>Information Delivery</a:t>
            </a:r>
            <a:endParaRPr lang="en-US" dirty="0">
              <a:solidFill>
                <a:srgbClr val="5080BC">
                  <a:lumMod val="50000"/>
                </a:srgbClr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580898" y="5723964"/>
            <a:ext cx="2558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5080BC">
                    <a:lumMod val="50000"/>
                  </a:srgbClr>
                </a:solidFill>
              </a:rPr>
              <a:t>Source Systems</a:t>
            </a:r>
          </a:p>
        </p:txBody>
      </p:sp>
      <p:sp>
        <p:nvSpPr>
          <p:cNvPr id="47" name="AutoShape 12"/>
          <p:cNvSpPr>
            <a:spLocks noChangeArrowheads="1"/>
          </p:cNvSpPr>
          <p:nvPr/>
        </p:nvSpPr>
        <p:spPr bwMode="auto">
          <a:xfrm>
            <a:off x="2509367" y="2159136"/>
            <a:ext cx="701349" cy="317119"/>
          </a:xfrm>
          <a:prstGeom prst="upArrow">
            <a:avLst>
              <a:gd name="adj1" fmla="val 42046"/>
              <a:gd name="adj2" fmla="val 51069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428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2</a:t>
            </a:r>
            <a:endParaRPr lang="en-AU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AU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87276130"/>
              </p:ext>
            </p:extLst>
          </p:nvPr>
        </p:nvGraphicFramePr>
        <p:xfrm>
          <a:off x="2483768" y="2132856"/>
          <a:ext cx="3810000" cy="2324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Visio" r:id="rId3" imgW="5005834" imgH="3052890" progId="Visio.Drawing.11">
                  <p:embed/>
                </p:oleObj>
              </mc:Choice>
              <mc:Fallback>
                <p:oleObj name="Visio" r:id="rId3" imgW="5005834" imgH="3052890" progId="Visio.Drawing.11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83768" y="2132856"/>
                        <a:ext cx="3810000" cy="23241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903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3</a:t>
            </a:r>
            <a:endParaRPr lang="en-AU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AU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3611589"/>
              </p:ext>
            </p:extLst>
          </p:nvPr>
        </p:nvGraphicFramePr>
        <p:xfrm>
          <a:off x="1471612" y="2060848"/>
          <a:ext cx="6200775" cy="3200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Visio" r:id="rId3" imgW="8129111" imgH="4177710" progId="Visio.Drawing.11">
                  <p:embed/>
                </p:oleObj>
              </mc:Choice>
              <mc:Fallback>
                <p:oleObj name="Visio" r:id="rId3" imgW="8129111" imgH="4177710" progId="Visio.Drawing.11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1612" y="2060848"/>
                        <a:ext cx="6200775" cy="3200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050315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4</a:t>
            </a:r>
            <a:endParaRPr lang="en-AU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AU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93798359"/>
              </p:ext>
            </p:extLst>
          </p:nvPr>
        </p:nvGraphicFramePr>
        <p:xfrm>
          <a:off x="1691680" y="1628800"/>
          <a:ext cx="5524500" cy="2409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Visio" r:id="rId3" imgW="6517768" imgH="2836890" progId="Visio.Drawing.11">
                  <p:embed/>
                </p:oleObj>
              </mc:Choice>
              <mc:Fallback>
                <p:oleObj name="Visio" r:id="rId3" imgW="6517768" imgH="2836890" progId="Visio.Drawing.11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1680" y="1628800"/>
                        <a:ext cx="5524500" cy="24098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716455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5</a:t>
            </a:r>
            <a:endParaRPr lang="en-AU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AU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7497983"/>
              </p:ext>
            </p:extLst>
          </p:nvPr>
        </p:nvGraphicFramePr>
        <p:xfrm>
          <a:off x="1835696" y="1124744"/>
          <a:ext cx="4991100" cy="2943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Visio" r:id="rId3" imgW="6806184" imgH="3997757" progId="Visio.Drawing.11">
                  <p:embed/>
                </p:oleObj>
              </mc:Choice>
              <mc:Fallback>
                <p:oleObj name="Visio" r:id="rId3" imgW="6806184" imgH="3997757" progId="Visio.Drawing.11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5696" y="1124744"/>
                        <a:ext cx="4991100" cy="29432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427239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6</a:t>
            </a:r>
            <a:endParaRPr lang="en-AU" dirty="0"/>
          </a:p>
        </p:txBody>
      </p:sp>
      <p:sp>
        <p:nvSpPr>
          <p:cNvPr id="8" name="Freeform 10"/>
          <p:cNvSpPr>
            <a:spLocks/>
          </p:cNvSpPr>
          <p:nvPr/>
        </p:nvSpPr>
        <p:spPr bwMode="auto">
          <a:xfrm>
            <a:off x="1907705" y="2852936"/>
            <a:ext cx="5219700" cy="388937"/>
          </a:xfrm>
          <a:custGeom>
            <a:avLst/>
            <a:gdLst>
              <a:gd name="T0" fmla="*/ 128 w 8816"/>
              <a:gd name="T1" fmla="*/ 646 h 654"/>
              <a:gd name="T2" fmla="*/ 8688 w 8816"/>
              <a:gd name="T3" fmla="*/ 646 h 654"/>
              <a:gd name="T4" fmla="*/ 8688 w 8816"/>
              <a:gd name="T5" fmla="*/ 654 h 654"/>
              <a:gd name="T6" fmla="*/ 8809 w 8816"/>
              <a:gd name="T7" fmla="*/ 533 h 654"/>
              <a:gd name="T8" fmla="*/ 8809 w 8816"/>
              <a:gd name="T9" fmla="*/ 533 h 654"/>
              <a:gd name="T10" fmla="*/ 8816 w 8816"/>
              <a:gd name="T11" fmla="*/ 534 h 654"/>
              <a:gd name="T12" fmla="*/ 8816 w 8816"/>
              <a:gd name="T13" fmla="*/ 118 h 654"/>
              <a:gd name="T14" fmla="*/ 8809 w 8816"/>
              <a:gd name="T15" fmla="*/ 121 h 654"/>
              <a:gd name="T16" fmla="*/ 8688 w 8816"/>
              <a:gd name="T17" fmla="*/ 0 h 654"/>
              <a:gd name="T18" fmla="*/ 8688 w 8816"/>
              <a:gd name="T19" fmla="*/ 6 h 654"/>
              <a:gd name="T20" fmla="*/ 128 w 8816"/>
              <a:gd name="T21" fmla="*/ 6 h 654"/>
              <a:gd name="T22" fmla="*/ 121 w 8816"/>
              <a:gd name="T23" fmla="*/ 0 h 654"/>
              <a:gd name="T24" fmla="*/ 0 w 8816"/>
              <a:gd name="T25" fmla="*/ 121 h 654"/>
              <a:gd name="T26" fmla="*/ 0 w 8816"/>
              <a:gd name="T27" fmla="*/ 118 h 654"/>
              <a:gd name="T28" fmla="*/ 0 w 8816"/>
              <a:gd name="T29" fmla="*/ 534 h 654"/>
              <a:gd name="T30" fmla="*/ 0 w 8816"/>
              <a:gd name="T31" fmla="*/ 533 h 654"/>
              <a:gd name="T32" fmla="*/ 121 w 8816"/>
              <a:gd name="T33" fmla="*/ 654 h 654"/>
              <a:gd name="T34" fmla="*/ 128 w 8816"/>
              <a:gd name="T35" fmla="*/ 646 h 6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8816" h="654">
                <a:moveTo>
                  <a:pt x="128" y="646"/>
                </a:moveTo>
                <a:lnTo>
                  <a:pt x="8688" y="646"/>
                </a:lnTo>
                <a:lnTo>
                  <a:pt x="8688" y="654"/>
                </a:lnTo>
                <a:cubicBezTo>
                  <a:pt x="8755" y="654"/>
                  <a:pt x="8809" y="600"/>
                  <a:pt x="8809" y="533"/>
                </a:cubicBezTo>
                <a:cubicBezTo>
                  <a:pt x="8809" y="533"/>
                  <a:pt x="8809" y="533"/>
                  <a:pt x="8809" y="533"/>
                </a:cubicBezTo>
                <a:lnTo>
                  <a:pt x="8816" y="534"/>
                </a:lnTo>
                <a:lnTo>
                  <a:pt x="8816" y="118"/>
                </a:lnTo>
                <a:lnTo>
                  <a:pt x="8809" y="121"/>
                </a:lnTo>
                <a:cubicBezTo>
                  <a:pt x="8809" y="54"/>
                  <a:pt x="8755" y="0"/>
                  <a:pt x="8688" y="0"/>
                </a:cubicBezTo>
                <a:lnTo>
                  <a:pt x="8688" y="6"/>
                </a:lnTo>
                <a:lnTo>
                  <a:pt x="128" y="6"/>
                </a:lnTo>
                <a:lnTo>
                  <a:pt x="121" y="0"/>
                </a:lnTo>
                <a:cubicBezTo>
                  <a:pt x="54" y="0"/>
                  <a:pt x="0" y="54"/>
                  <a:pt x="0" y="121"/>
                </a:cubicBezTo>
                <a:lnTo>
                  <a:pt x="0" y="118"/>
                </a:lnTo>
                <a:lnTo>
                  <a:pt x="0" y="534"/>
                </a:lnTo>
                <a:lnTo>
                  <a:pt x="0" y="533"/>
                </a:lnTo>
                <a:cubicBezTo>
                  <a:pt x="0" y="600"/>
                  <a:pt x="54" y="654"/>
                  <a:pt x="121" y="654"/>
                </a:cubicBezTo>
                <a:lnTo>
                  <a:pt x="128" y="646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 smtClean="0"/>
              <a:t>Batch scheduler (i.e. script or job)</a:t>
            </a:r>
            <a:endParaRPr lang="en-AU" sz="1200" dirty="0"/>
          </a:p>
        </p:txBody>
      </p:sp>
      <p:sp>
        <p:nvSpPr>
          <p:cNvPr id="51" name="Freeform 10"/>
          <p:cNvSpPr>
            <a:spLocks/>
          </p:cNvSpPr>
          <p:nvPr/>
        </p:nvSpPr>
        <p:spPr bwMode="auto">
          <a:xfrm>
            <a:off x="1895004" y="4869160"/>
            <a:ext cx="5248275" cy="38893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/>
              <a:t>Repository (event logging and validation)</a:t>
            </a:r>
          </a:p>
        </p:txBody>
      </p:sp>
      <p:sp>
        <p:nvSpPr>
          <p:cNvPr id="52" name="Freeform 7"/>
          <p:cNvSpPr>
            <a:spLocks/>
          </p:cNvSpPr>
          <p:nvPr/>
        </p:nvSpPr>
        <p:spPr bwMode="auto">
          <a:xfrm>
            <a:off x="1895004" y="3579365"/>
            <a:ext cx="5219700" cy="939093"/>
          </a:xfrm>
          <a:prstGeom prst="roundRect">
            <a:avLst/>
          </a:prstGeom>
          <a:solidFill>
            <a:srgbClr val="969696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>
                <a:solidFill>
                  <a:schemeClr val="bg1"/>
                </a:solidFill>
              </a:rPr>
              <a:t>Batch (workflow / container)</a:t>
            </a:r>
          </a:p>
        </p:txBody>
      </p:sp>
      <p:sp>
        <p:nvSpPr>
          <p:cNvPr id="14354" name="Rounded Rectangle 14353"/>
          <p:cNvSpPr/>
          <p:nvPr/>
        </p:nvSpPr>
        <p:spPr>
          <a:xfrm>
            <a:off x="2177149" y="3933056"/>
            <a:ext cx="1407947" cy="324036"/>
          </a:xfrm>
          <a:prstGeom prst="roundRect">
            <a:avLst/>
          </a:prstGeom>
          <a:solidFill>
            <a:srgbClr val="99CC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 smtClean="0">
                <a:solidFill>
                  <a:schemeClr val="tx1"/>
                </a:solidFill>
              </a:rPr>
              <a:t>Module 1</a:t>
            </a:r>
            <a:endParaRPr lang="en-AU" sz="1200" dirty="0">
              <a:solidFill>
                <a:schemeClr val="tx1"/>
              </a:solidFill>
            </a:endParaRPr>
          </a:p>
        </p:txBody>
      </p:sp>
      <p:sp>
        <p:nvSpPr>
          <p:cNvPr id="55" name="Rounded Rectangle 54"/>
          <p:cNvSpPr/>
          <p:nvPr/>
        </p:nvSpPr>
        <p:spPr>
          <a:xfrm>
            <a:off x="3796131" y="3933056"/>
            <a:ext cx="1407947" cy="324036"/>
          </a:xfrm>
          <a:prstGeom prst="roundRect">
            <a:avLst/>
          </a:prstGeom>
          <a:solidFill>
            <a:srgbClr val="99CC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 smtClean="0">
                <a:solidFill>
                  <a:schemeClr val="tx1"/>
                </a:solidFill>
              </a:rPr>
              <a:t>Module 2</a:t>
            </a:r>
            <a:endParaRPr lang="en-AU" sz="1200" dirty="0">
              <a:solidFill>
                <a:schemeClr val="tx1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5436096" y="3933056"/>
            <a:ext cx="1407947" cy="324036"/>
          </a:xfrm>
          <a:prstGeom prst="roundRect">
            <a:avLst/>
          </a:prstGeom>
          <a:solidFill>
            <a:srgbClr val="99CC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 smtClean="0">
                <a:solidFill>
                  <a:schemeClr val="tx1"/>
                </a:solidFill>
              </a:rPr>
              <a:t>Module 3</a:t>
            </a:r>
            <a:endParaRPr lang="en-AU" sz="1200" dirty="0">
              <a:solidFill>
                <a:schemeClr val="tx1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 bwMode="gray">
          <a:xfrm>
            <a:off x="2648992" y="4259522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 bwMode="gray">
          <a:xfrm>
            <a:off x="6852132" y="4518458"/>
            <a:ext cx="0" cy="350702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 bwMode="gray">
          <a:xfrm>
            <a:off x="4499992" y="3241873"/>
            <a:ext cx="0" cy="337492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61" name="TextBox 14360"/>
          <p:cNvSpPr txBox="1"/>
          <p:nvPr/>
        </p:nvSpPr>
        <p:spPr>
          <a:xfrm rot="16200000">
            <a:off x="6278135" y="4477661"/>
            <a:ext cx="9361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800" dirty="0"/>
              <a:t>Batch finish</a:t>
            </a:r>
          </a:p>
        </p:txBody>
      </p:sp>
      <p:sp>
        <p:nvSpPr>
          <p:cNvPr id="78" name="TextBox 77"/>
          <p:cNvSpPr txBox="1"/>
          <p:nvPr/>
        </p:nvSpPr>
        <p:spPr>
          <a:xfrm rot="16200000">
            <a:off x="2115104" y="4384564"/>
            <a:ext cx="8939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dirty="0" smtClean="0"/>
              <a:t>Module start</a:t>
            </a:r>
            <a:endParaRPr lang="en-AU" sz="800" dirty="0"/>
          </a:p>
        </p:txBody>
      </p:sp>
      <p:sp>
        <p:nvSpPr>
          <p:cNvPr id="79" name="TextBox 78"/>
          <p:cNvSpPr txBox="1"/>
          <p:nvPr/>
        </p:nvSpPr>
        <p:spPr>
          <a:xfrm rot="16200000">
            <a:off x="1691970" y="4437402"/>
            <a:ext cx="7920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dirty="0"/>
              <a:t>Batch start</a:t>
            </a:r>
          </a:p>
        </p:txBody>
      </p:sp>
      <p:sp>
        <p:nvSpPr>
          <p:cNvPr id="80" name="TextBox 79"/>
          <p:cNvSpPr txBox="1"/>
          <p:nvPr/>
        </p:nvSpPr>
        <p:spPr>
          <a:xfrm rot="16200000">
            <a:off x="2598362" y="4392832"/>
            <a:ext cx="8939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dirty="0" smtClean="0"/>
              <a:t>Module finish</a:t>
            </a:r>
            <a:endParaRPr lang="en-AU" sz="800" dirty="0"/>
          </a:p>
        </p:txBody>
      </p:sp>
      <p:cxnSp>
        <p:nvCxnSpPr>
          <p:cNvPr id="81" name="Straight Arrow Connector 80"/>
          <p:cNvCxnSpPr/>
          <p:nvPr/>
        </p:nvCxnSpPr>
        <p:spPr bwMode="gray">
          <a:xfrm>
            <a:off x="2189386" y="4518458"/>
            <a:ext cx="0" cy="350702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/>
          <p:nvPr/>
        </p:nvCxnSpPr>
        <p:spPr bwMode="gray">
          <a:xfrm>
            <a:off x="3153048" y="4259522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 bwMode="gray">
          <a:xfrm>
            <a:off x="4211960" y="4273574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/>
          <p:cNvCxnSpPr/>
          <p:nvPr/>
        </p:nvCxnSpPr>
        <p:spPr bwMode="gray">
          <a:xfrm>
            <a:off x="4716016" y="4273574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 bwMode="gray">
          <a:xfrm>
            <a:off x="5868144" y="4264276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 bwMode="gray">
          <a:xfrm>
            <a:off x="6372200" y="4264276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96721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7</a:t>
            </a:r>
            <a:endParaRPr lang="en-AU" dirty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57606949"/>
              </p:ext>
            </p:extLst>
          </p:nvPr>
        </p:nvGraphicFramePr>
        <p:xfrm>
          <a:off x="-171450" y="1122363"/>
          <a:ext cx="9604375" cy="55324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Visio" r:id="rId3" imgW="9820683" imgH="5764500" progId="Visio.Drawing.11">
                  <p:embed/>
                </p:oleObj>
              </mc:Choice>
              <mc:Fallback>
                <p:oleObj name="Visio" r:id="rId3" imgW="9820683" imgH="5764500" progId="Visio.Drawing.11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71450" y="1122363"/>
                        <a:ext cx="9604375" cy="55324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6965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7</a:t>
            </a:r>
            <a:endParaRPr lang="en-AU" dirty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10781108"/>
              </p:ext>
            </p:extLst>
          </p:nvPr>
        </p:nvGraphicFramePr>
        <p:xfrm>
          <a:off x="1835150" y="1123950"/>
          <a:ext cx="7600950" cy="4762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Visio" r:id="rId3" imgW="8763383" imgH="5359770" progId="Visio.Drawing.11">
                  <p:embed/>
                </p:oleObj>
              </mc:Choice>
              <mc:Fallback>
                <p:oleObj name="Visio" r:id="rId3" imgW="8763383" imgH="5359770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5150" y="1123950"/>
                        <a:ext cx="7600950" cy="4762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399703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English Allianz_CF_MU2683">
  <a:themeElements>
    <a:clrScheme name="Current">
      <a:dk1>
        <a:srgbClr val="000000"/>
      </a:dk1>
      <a:lt1>
        <a:srgbClr val="FFFFFF"/>
      </a:lt1>
      <a:dk2>
        <a:srgbClr val="113388"/>
      </a:dk2>
      <a:lt2>
        <a:srgbClr val="5F5F5F"/>
      </a:lt2>
      <a:accent1>
        <a:srgbClr val="113388"/>
      </a:accent1>
      <a:accent2>
        <a:srgbClr val="426BB3"/>
      </a:accent2>
      <a:accent3>
        <a:srgbClr val="819CCC"/>
      </a:accent3>
      <a:accent4>
        <a:srgbClr val="C6CEE2"/>
      </a:accent4>
      <a:accent5>
        <a:srgbClr val="FF6600"/>
      </a:accent5>
      <a:accent6>
        <a:srgbClr val="808080"/>
      </a:accent6>
      <a:hlink>
        <a:srgbClr val="819CCC"/>
      </a:hlink>
      <a:folHlink>
        <a:srgbClr val="C6CEE2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17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13388"/>
        </a:dk2>
        <a:lt2>
          <a:srgbClr val="5F5F5F"/>
        </a:lt2>
        <a:accent1>
          <a:srgbClr val="113388"/>
        </a:accent1>
        <a:accent2>
          <a:srgbClr val="426BB3"/>
        </a:accent2>
        <a:accent3>
          <a:srgbClr val="819CCC"/>
        </a:accent3>
        <a:accent4>
          <a:srgbClr val="C6CEE2"/>
        </a:accent4>
        <a:accent5>
          <a:srgbClr val="FF6600"/>
        </a:accent5>
        <a:accent6>
          <a:srgbClr val="808080"/>
        </a:accent6>
        <a:hlink>
          <a:srgbClr val="819CCC"/>
        </a:hlink>
        <a:folHlink>
          <a:srgbClr val="C6C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English Allianz_CF_MU2683">
  <a:themeElements>
    <a:clrScheme name="Current">
      <a:dk1>
        <a:srgbClr val="000000"/>
      </a:dk1>
      <a:lt1>
        <a:srgbClr val="FFFFFF"/>
      </a:lt1>
      <a:dk2>
        <a:srgbClr val="113388"/>
      </a:dk2>
      <a:lt2>
        <a:srgbClr val="5F5F5F"/>
      </a:lt2>
      <a:accent1>
        <a:srgbClr val="113388"/>
      </a:accent1>
      <a:accent2>
        <a:srgbClr val="426BB3"/>
      </a:accent2>
      <a:accent3>
        <a:srgbClr val="819CCC"/>
      </a:accent3>
      <a:accent4>
        <a:srgbClr val="C6CEE2"/>
      </a:accent4>
      <a:accent5>
        <a:srgbClr val="FF6600"/>
      </a:accent5>
      <a:accent6>
        <a:srgbClr val="808080"/>
      </a:accent6>
      <a:hlink>
        <a:srgbClr val="819CCC"/>
      </a:hlink>
      <a:folHlink>
        <a:srgbClr val="C6CEE2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17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13388"/>
        </a:dk2>
        <a:lt2>
          <a:srgbClr val="5F5F5F"/>
        </a:lt2>
        <a:accent1>
          <a:srgbClr val="113388"/>
        </a:accent1>
        <a:accent2>
          <a:srgbClr val="426BB3"/>
        </a:accent2>
        <a:accent3>
          <a:srgbClr val="819CCC"/>
        </a:accent3>
        <a:accent4>
          <a:srgbClr val="C6CEE2"/>
        </a:accent4>
        <a:accent5>
          <a:srgbClr val="FF6600"/>
        </a:accent5>
        <a:accent6>
          <a:srgbClr val="808080"/>
        </a:accent6>
        <a:hlink>
          <a:srgbClr val="819CCC"/>
        </a:hlink>
        <a:folHlink>
          <a:srgbClr val="C6C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9</TotalTime>
  <Words>69</Words>
  <Application>Microsoft Office PowerPoint</Application>
  <PresentationFormat>On-screen Show (4:3)</PresentationFormat>
  <Paragraphs>25</Paragraphs>
  <Slides>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English Allianz_CF_MU2683</vt:lpstr>
      <vt:lpstr>1_English Allianz_CF_MU2683</vt:lpstr>
      <vt:lpstr>think-cell Slide</vt:lpstr>
      <vt:lpstr>Visio</vt:lpstr>
      <vt:lpstr>Integration Metadata</vt:lpstr>
      <vt:lpstr>Figure 2</vt:lpstr>
      <vt:lpstr>Figure 3</vt:lpstr>
      <vt:lpstr>Figure 4</vt:lpstr>
      <vt:lpstr>Figure 5</vt:lpstr>
      <vt:lpstr>Figure 6</vt:lpstr>
      <vt:lpstr>Figure 7</vt:lpstr>
      <vt:lpstr>Figure 7</vt:lpstr>
    </vt:vector>
  </TitlesOfParts>
  <Company>Allianz Global Assistan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elant Vos</dc:creator>
  <cp:lastModifiedBy>Roelant Vos</cp:lastModifiedBy>
  <cp:revision>29</cp:revision>
  <dcterms:created xsi:type="dcterms:W3CDTF">2014-12-23T05:06:07Z</dcterms:created>
  <dcterms:modified xsi:type="dcterms:W3CDTF">2018-01-17T23:06:57Z</dcterms:modified>
</cp:coreProperties>
</file>